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92157" autoAdjust="0"/>
  </p:normalViewPr>
  <p:slideViewPr>
    <p:cSldViewPr snapToGrid="0">
      <p:cViewPr varScale="1">
        <p:scale>
          <a:sx n="102" d="100"/>
          <a:sy n="102" d="100"/>
        </p:scale>
        <p:origin x="876" y="102"/>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CDDB16C5-059C-4E66-A66D-3215A7A103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1C8FD1EA-B897-46A0-A9FC-1C63BBC4289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6959C049-D923-4975-AF9C-1B0F102CEF1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2</c:v>
                </c:pt>
                <c:pt idx="1">
                  <c:v>0.35</c:v>
                </c:pt>
                <c:pt idx="2">
                  <c:v>0.36</c:v>
                </c:pt>
                <c:pt idx="3">
                  <c:v>7.0000000000000007E-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5</c15:f>
                <c15:dlblRangeCache>
                  <c:ptCount val="4"/>
                  <c:pt idx="0">
                    <c:v>22%</c:v>
                  </c:pt>
                  <c:pt idx="1">
                    <c:v>35%</c:v>
                  </c:pt>
                  <c:pt idx="2">
                    <c:v>36%</c:v>
                  </c:pt>
                  <c:pt idx="3">
                    <c:v>7%</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0AB7BEA5-EF67-4FBB-A4AE-19ACD455DE4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2F18DDD4-B8BB-4389-BAEC-CABB0E44E97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776B3429-3EB3-41C8-8CE1-910007A0070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02</c:v>
                </c:pt>
                <c:pt idx="1">
                  <c:v>0.17</c:v>
                </c:pt>
                <c:pt idx="2">
                  <c:v>0.52</c:v>
                </c:pt>
                <c:pt idx="3">
                  <c:v>0.3</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L$2:$L$5</c15:f>
                <c15:dlblRangeCache>
                  <c:ptCount val="4"/>
                  <c:pt idx="0">
                    <c:v>2%</c:v>
                  </c:pt>
                  <c:pt idx="1">
                    <c:v>17%</c:v>
                  </c:pt>
                  <c:pt idx="2">
                    <c:v>52%</c:v>
                  </c:pt>
                  <c:pt idx="3">
                    <c:v>30%</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75</c:v>
                </c:pt>
                <c:pt idx="1">
                  <c:v>0.78</c:v>
                </c:pt>
                <c:pt idx="2">
                  <c:v>0.91</c:v>
                </c:pt>
                <c:pt idx="3">
                  <c:v>0.9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CDC17F94-4FAA-4C01-A77A-A1216CC33A8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F6B71963-D8C9-4104-8E9F-1D9089965C1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9833B4F0-F496-4186-8498-3432B3FD716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25</c:v>
                </c:pt>
                <c:pt idx="1">
                  <c:v>0.22</c:v>
                </c:pt>
                <c:pt idx="2">
                  <c:v>0.09</c:v>
                </c:pt>
                <c:pt idx="3">
                  <c:v>0.04</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75%</c:v>
                  </c:pt>
                  <c:pt idx="1">
                    <c:v>78%</c:v>
                  </c:pt>
                  <c:pt idx="2">
                    <c:v>91%</c:v>
                  </c:pt>
                  <c:pt idx="3">
                    <c:v>96%</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2</c:v>
                </c:pt>
                <c:pt idx="1">
                  <c:v>0</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DE4D9466-8AF3-41A9-909B-739545403BF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3C429DCC-FB13-4E88-BA7B-0FD56F3645D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40447E04-1880-4F5E-B863-8D2B27A0A6C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2495132D-3B13-488E-B63A-D613AA401B7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8</c:v>
                </c:pt>
                <c:pt idx="1">
                  <c:v>0</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2%</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1</c:v>
                </c:pt>
                <c:pt idx="1">
                  <c:v>0.85</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B8698EAD-210D-4E37-88A9-DF2617431F5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282450CE-345A-477D-AA1D-22B7DB9A425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99D4AEBB-9CA3-4B69-99E9-1852A68A887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AA31CB1E-EB1A-432E-9BD5-666999EF857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9</c:v>
                </c:pt>
                <c:pt idx="1">
                  <c:v>0.15</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1%</c:v>
                  </c:pt>
                  <c:pt idx="1">
                    <c:v>85%</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3</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16EED0AB-47AA-4D46-B6AA-03AA131B88B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ECC79A5A-692D-4349-9523-28FA17A9E33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7</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3%</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90%</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9</c:v>
                </c:pt>
                <c:pt idx="1">
                  <c:v>0.93</c:v>
                </c:pt>
                <c:pt idx="2">
                  <c:v>0.87</c:v>
                </c:pt>
                <c:pt idx="3">
                  <c:v>0.92</c:v>
                </c:pt>
                <c:pt idx="4">
                  <c:v>0.8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04DF6004-C6C3-49AE-837A-5CB0AAA2487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05A2564A-562B-45A7-9198-3117E008B1D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5E0BD1C7-CB0A-42F7-821D-710F8F250BE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2130E938-9E29-41F5-BB30-374B9E5137E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c:v>
                </c:pt>
                <c:pt idx="1">
                  <c:v>7.0000000000000007E-2</c:v>
                </c:pt>
                <c:pt idx="2">
                  <c:v>0.13</c:v>
                </c:pt>
                <c:pt idx="3">
                  <c:v>0.08</c:v>
                </c:pt>
                <c:pt idx="4">
                  <c:v>0.1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90%</c:v>
                  </c:pt>
                  <c:pt idx="1">
                    <c:v>93%</c:v>
                  </c:pt>
                  <c:pt idx="2">
                    <c:v>87%</c:v>
                  </c:pt>
                  <c:pt idx="3">
                    <c:v>92%</c:v>
                  </c:pt>
                  <c:pt idx="4">
                    <c:v>85%</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59</c:v>
                </c:pt>
                <c:pt idx="1">
                  <c:v>0.87</c:v>
                </c:pt>
                <c:pt idx="2">
                  <c:v>0.92</c:v>
                </c:pt>
                <c:pt idx="3">
                  <c:v>0.8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2976E1F7-A5AC-4ACA-A0FB-0FE080CEF92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A1A53991-6286-48B1-AC0F-E2847021C13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C0301430-352D-490B-A0AB-4B45BEFE2FF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41</c:v>
                </c:pt>
                <c:pt idx="1">
                  <c:v>0.13</c:v>
                </c:pt>
                <c:pt idx="2">
                  <c:v>0.08</c:v>
                </c:pt>
                <c:pt idx="3">
                  <c:v>0.1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59%</c:v>
                  </c:pt>
                  <c:pt idx="1">
                    <c:v>87%</c:v>
                  </c:pt>
                  <c:pt idx="2">
                    <c:v>92%</c:v>
                  </c:pt>
                  <c:pt idx="3">
                    <c:v>88%</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c:v>
                </c:pt>
                <c:pt idx="1">
                  <c:v>0</c:v>
                </c:pt>
                <c:pt idx="2">
                  <c:v>0.94</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89BEE79D-8410-4835-A123-63A11C1E21B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6D084559-216D-4916-B530-BF12869B12B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9DE3F657-16F5-4924-BFCC-BB950A68CD7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FB8CADD4-63A6-41EC-8A4E-256561F2573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c:v>
                </c:pt>
                <c:pt idx="1">
                  <c:v>0</c:v>
                </c:pt>
                <c:pt idx="2">
                  <c:v>0.06</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90%</c:v>
                  </c:pt>
                  <c:pt idx="1">
                    <c:v>-</c:v>
                  </c:pt>
                  <c:pt idx="2">
                    <c:v>94%</c:v>
                  </c:pt>
                  <c:pt idx="3">
                    <c:v>-</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8</c:v>
                </c:pt>
                <c:pt idx="1">
                  <c:v>0.91</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53789B41-8856-4B0D-9BA4-B41916FC1C9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D1669384-AD87-4F51-906D-9536DEF029E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DA75AE7A-B8DC-4CB7-8DA6-3E65F778406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093F1B44-1DAE-4553-BA92-61DC1EADBC6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2</c:v>
                </c:pt>
                <c:pt idx="1">
                  <c:v>0.09</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8%</c:v>
                  </c:pt>
                  <c:pt idx="1">
                    <c:v>91%</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9</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675608F5-E1BC-40FB-8035-FAA73EFB195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DB1D1C15-01B5-4D75-96FF-2CF15EB5B10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90%</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2</c:v>
                </c:pt>
                <c:pt idx="1">
                  <c:v>92</c:v>
                </c:pt>
                <c:pt idx="2">
                  <c:v>2</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0</c:v>
                </c:pt>
                <c:pt idx="1">
                  <c:v>8</c:v>
                </c:pt>
                <c:pt idx="2">
                  <c:v>2</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3AF38A5A-8026-4AAF-91EE-7D523970E1B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r>
                      <a:rPr lang="en-GB"/>
                      <a:t>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115E-48E7-9278-D03DDCBD9794}"/>
                </c:ext>
              </c:extLst>
            </c:dLbl>
            <c:dLbl>
              <c:idx val="3"/>
              <c:tx>
                <c:rich>
                  <a:bodyPr/>
                  <a:lstStyle/>
                  <a:p>
                    <a:fld id="{A722A9F7-C322-4C28-A542-59AFEC2B52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BD20318E-3F8F-4DD7-A61F-73FAE7DDCB2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5632D452-5FC0-44B0-9782-344BC2EAC33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DF63B68C-C15E-43D9-9726-60EFCE27B51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4</c:v>
                </c:pt>
                <c:pt idx="1">
                  <c:v>6</c:v>
                </c:pt>
                <c:pt idx="2">
                  <c:v>1</c:v>
                </c:pt>
                <c:pt idx="3">
                  <c:v>1</c:v>
                </c:pt>
                <c:pt idx="4">
                  <c:v>2</c:v>
                </c:pt>
                <c:pt idx="5">
                  <c:v>3</c:v>
                </c:pt>
                <c:pt idx="6">
                  <c:v>3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4%</c:v>
                  </c:pt>
                  <c:pt idx="1">
                    <c:v>6%</c:v>
                  </c:pt>
                  <c:pt idx="2">
                    <c:v>1%q</c:v>
                  </c:pt>
                  <c:pt idx="3">
                    <c:v>1%</c:v>
                  </c:pt>
                  <c:pt idx="4">
                    <c:v>2%</c:v>
                  </c:pt>
                  <c:pt idx="5">
                    <c:v>3%</c:v>
                  </c:pt>
                  <c:pt idx="6">
                    <c:v>38%</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r>
                      <a:rPr lang="en-US"/>
                      <a:t>57%</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0-305C-4A2F-9A88-03A72AE7F3F6}"/>
                </c:ext>
              </c:extLst>
            </c:dLbl>
            <c:dLbl>
              <c:idx val="1"/>
              <c:tx>
                <c:rich>
                  <a:bodyPr/>
                  <a:lstStyle/>
                  <a:p>
                    <a:fld id="{83514647-3F03-4416-AE0F-DF46FA90CF7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7A49316B-CF86-4B7E-B99E-D476FFBD9BC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572783F6-385F-45AA-88BD-BC9DBF52548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r>
                      <a:rPr lang="en-GB"/>
                      <a:t>10%</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305C-4A2F-9A88-03A72AE7F3F6}"/>
                </c:ext>
              </c:extLst>
            </c:dLbl>
            <c:dLbl>
              <c:idx val="5"/>
              <c:tx>
                <c:rich>
                  <a:bodyPr/>
                  <a:lstStyle/>
                  <a:p>
                    <a:fld id="{45B96237-BB9D-4DC7-AC9D-F8AA0135CE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CCD614A2-EA62-4154-A786-FAF35219608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7</c:v>
                </c:pt>
                <c:pt idx="1">
                  <c:v>6</c:v>
                </c:pt>
                <c:pt idx="2">
                  <c:v>2</c:v>
                </c:pt>
                <c:pt idx="3">
                  <c:v>3</c:v>
                </c:pt>
                <c:pt idx="4">
                  <c:v>10</c:v>
                </c:pt>
                <c:pt idx="5">
                  <c:v>6</c:v>
                </c:pt>
                <c:pt idx="6">
                  <c:v>2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7%p</c:v>
                  </c:pt>
                  <c:pt idx="1">
                    <c:v>6%</c:v>
                  </c:pt>
                  <c:pt idx="2">
                    <c:v>2%</c:v>
                  </c:pt>
                  <c:pt idx="3">
                    <c:v>3%</c:v>
                  </c:pt>
                  <c:pt idx="4">
                    <c:v>10%q</c:v>
                  </c:pt>
                  <c:pt idx="5">
                    <c:v>6%</c:v>
                  </c:pt>
                  <c:pt idx="6">
                    <c:v>28%</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E4544F84-D939-4DE4-8EC7-073D179F364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47E09C76-AD31-42A0-BFB4-9ED72C2C21B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9</c:v>
                </c:pt>
                <c:pt idx="1">
                  <c:v>9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9%</c:v>
                  </c:pt>
                  <c:pt idx="1">
                    <c:v>91%</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28B31966-B1CB-4716-A279-C3D949C7D2A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3-EF04-40F3-B91F-C8C4FA5B6E26}"/>
                </c:ext>
              </c:extLst>
            </c:dLbl>
            <c:dLbl>
              <c:idx val="1"/>
              <c:tx>
                <c:rich>
                  <a:bodyPr/>
                  <a:lstStyle/>
                  <a:p>
                    <a:r>
                      <a:rPr lang="en-GB"/>
                      <a:t>9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c:v>
                </c:pt>
                <c:pt idx="1">
                  <c:v>9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q</c:v>
                  </c:pt>
                  <c:pt idx="1">
                    <c:v>92%p</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DEFAFF4A-571A-4D86-8C13-14D15BAF91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011A6785-CC4E-45B9-AD69-B0768572397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9</c:v>
                </c:pt>
                <c:pt idx="1">
                  <c:v>8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9%</c:v>
                  </c:pt>
                  <c:pt idx="1">
                    <c:v>81%</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85CF5A4E-1AD9-4169-8FD0-8247F6722C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3F24EF63-2FC5-4675-9427-91A812FD588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7257BBA6-BF37-4F80-A054-7525C9C6DB5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1D723167-11F2-4E1C-AE7A-6A3F2C81699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4</c:v>
                </c:pt>
                <c:pt idx="1">
                  <c:v>0.45</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54%</c:v>
                  </c:pt>
                  <c:pt idx="1">
                    <c:v>45%</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0CAC25F7-7D1C-43A5-BF8E-1F11990A758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37216F2F-013C-4EC7-96B5-BE105086AA9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E54C9A41-D280-472B-97EA-B167A1DD4A4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3329DD52-FBD8-496D-B5FA-ED5146A1C8A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4</c:v>
                </c:pt>
                <c:pt idx="1">
                  <c:v>0.45</c:v>
                </c:pt>
                <c:pt idx="2">
                  <c:v>0</c:v>
                </c:pt>
                <c:pt idx="3">
                  <c:v>0</c:v>
                </c:pt>
                <c:pt idx="4">
                  <c:v>0.0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4%</c:v>
                  </c:pt>
                  <c:pt idx="1">
                    <c:v>45%</c:v>
                  </c:pt>
                  <c:pt idx="2">
                    <c:v>-</c:v>
                  </c:pt>
                  <c:pt idx="3">
                    <c:v>-</c:v>
                  </c:pt>
                  <c:pt idx="4">
                    <c:v>1%</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A7F9E0F4-71D8-41B9-9BB3-8FC7EE64D80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17%</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1819-49AB-9068-B304DBA3CCB4}"/>
                </c:ext>
              </c:extLst>
            </c:dLbl>
            <c:dLbl>
              <c:idx val="1"/>
              <c:tx>
                <c:rich>
                  <a:bodyPr/>
                  <a:lstStyle/>
                  <a:p>
                    <a:r>
                      <a:rPr lang="en-GB"/>
                      <a:t>83%</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7</c:v>
                </c:pt>
                <c:pt idx="1">
                  <c:v>8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7%q</c:v>
                  </c:pt>
                  <c:pt idx="1">
                    <c:v>83%p</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7427B7CA-AC63-4506-8A4F-EDD9790DFF5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EC5081C1-858C-4368-8233-3D7313C1F32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c:v>
                </c:pt>
                <c:pt idx="1">
                  <c:v>9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c:v>
                  </c:pt>
                  <c:pt idx="1">
                    <c:v>96%</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98871F71-2578-4756-B988-16D15D1F6A5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4%</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8044-4A9A-8BF8-13AAE32259E6}"/>
                </c:ext>
              </c:extLst>
            </c:dLbl>
            <c:dLbl>
              <c:idx val="1"/>
              <c:tx>
                <c:rich>
                  <a:bodyPr/>
                  <a:lstStyle/>
                  <a:p>
                    <a:r>
                      <a:rPr lang="en-GB"/>
                      <a:t>9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c:v>
                </c:pt>
                <c:pt idx="1">
                  <c:v>9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q</c:v>
                  </c:pt>
                  <c:pt idx="1">
                    <c:v>96%p</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GB"/>
                      <a:t>8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73EB-456C-B74D-581899DAC290}"/>
                </c:ext>
              </c:extLst>
            </c:dLbl>
            <c:dLbl>
              <c:idx val="1"/>
              <c:tx>
                <c:rich>
                  <a:bodyPr/>
                  <a:lstStyle/>
                  <a:p>
                    <a:fld id="{AA6415EF-C8DA-474C-9533-300CC5902E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B008C002-E1D3-4940-9927-14DF9E6484D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fld id="{B9F07EC8-5EE5-4B91-A5F9-C67453D977F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fld id="{1A80C984-3759-438D-ADFA-E87D0869796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r>
                      <a:rPr lang="en-GB"/>
                      <a:t>37%</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73EB-456C-B74D-581899DAC290}"/>
                </c:ext>
              </c:extLst>
            </c:dLbl>
            <c:dLbl>
              <c:idx val="6"/>
              <c:tx>
                <c:rich>
                  <a:bodyPr/>
                  <a:lstStyle/>
                  <a:p>
                    <a:fld id="{99538C49-6AE9-4717-A5D4-A3DB58FB22E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5</c:v>
                </c:pt>
                <c:pt idx="1">
                  <c:v>93</c:v>
                </c:pt>
                <c:pt idx="2">
                  <c:v>80</c:v>
                </c:pt>
                <c:pt idx="3">
                  <c:v>69</c:v>
                </c:pt>
                <c:pt idx="4">
                  <c:v>91</c:v>
                </c:pt>
                <c:pt idx="5">
                  <c:v>37</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5%p</c:v>
                  </c:pt>
                  <c:pt idx="1">
                    <c:v>93%</c:v>
                  </c:pt>
                  <c:pt idx="2">
                    <c:v>80%</c:v>
                  </c:pt>
                  <c:pt idx="3">
                    <c:v>69%</c:v>
                  </c:pt>
                  <c:pt idx="4">
                    <c:v>91%</c:v>
                  </c:pt>
                  <c:pt idx="5">
                    <c:v>37%p</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CC2D1B6F-0075-40DC-A6D1-7C496259566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FEA74AD2-E45B-45B4-8D6C-990F8D45D7B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r>
                      <a:rPr lang="en-GB"/>
                      <a:t>6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E36-4621-A2A8-3ADDA83CA04C}"/>
                </c:ext>
              </c:extLst>
            </c:dLbl>
            <c:dLbl>
              <c:idx val="3"/>
              <c:tx>
                <c:rich>
                  <a:bodyPr/>
                  <a:lstStyle/>
                  <a:p>
                    <a:fld id="{6E45BC0F-74D8-4CB7-B768-F147E9983B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3EA8CCAB-C25B-4887-8522-9CF369C977E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22F0897C-8534-46FD-935A-726EFAD25D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0A623916-B890-46DD-ACA4-70F01E092E8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3</c:v>
                </c:pt>
                <c:pt idx="1">
                  <c:v>87</c:v>
                </c:pt>
                <c:pt idx="2">
                  <c:v>64</c:v>
                </c:pt>
                <c:pt idx="3">
                  <c:v>66</c:v>
                </c:pt>
                <c:pt idx="4">
                  <c:v>90</c:v>
                </c:pt>
                <c:pt idx="5">
                  <c:v>39</c:v>
                </c:pt>
                <c:pt idx="6">
                  <c:v>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3%</c:v>
                  </c:pt>
                  <c:pt idx="1">
                    <c:v>87%</c:v>
                  </c:pt>
                  <c:pt idx="2">
                    <c:v>64%q</c:v>
                  </c:pt>
                  <c:pt idx="3">
                    <c:v>66%</c:v>
                  </c:pt>
                  <c:pt idx="4">
                    <c:v>90%</c:v>
                  </c:pt>
                  <c:pt idx="5">
                    <c:v>39%</c:v>
                  </c:pt>
                  <c:pt idx="6">
                    <c:v>3%</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6</c:v>
                </c:pt>
                <c:pt idx="1">
                  <c:v>31</c:v>
                </c:pt>
                <c:pt idx="2">
                  <c:v>9</c:v>
                </c:pt>
                <c:pt idx="3">
                  <c:v>3</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4</c:v>
                </c:pt>
                <c:pt idx="1">
                  <c:v>28</c:v>
                </c:pt>
                <c:pt idx="2">
                  <c:v>11</c:v>
                </c:pt>
                <c:pt idx="3">
                  <c:v>5</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3E594F97-FBC1-4B13-8A7B-0BA8AA4EED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13157320-ACBA-4447-8990-6D3CEB5ADA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8</c:v>
                </c:pt>
                <c:pt idx="1">
                  <c:v>0.01</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98%</c:v>
                  </c:pt>
                  <c:pt idx="1">
                    <c:v>1%</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AD7C3414-0800-4F77-8B42-8C26A3E69EF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944915CA-E70F-4BD0-84A8-5A41A0B9DE4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8</c:v>
                </c:pt>
                <c:pt idx="1">
                  <c:v>0</c:v>
                </c:pt>
                <c:pt idx="2">
                  <c:v>0.0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98%</c:v>
                  </c:pt>
                  <c:pt idx="1">
                    <c:v>-</c:v>
                  </c:pt>
                  <c:pt idx="2">
                    <c:v>1%</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7</c:v>
                </c:pt>
                <c:pt idx="1">
                  <c:v>21</c:v>
                </c:pt>
                <c:pt idx="2">
                  <c:v>7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8</c:v>
                </c:pt>
                <c:pt idx="1">
                  <c:v>39</c:v>
                </c:pt>
                <c:pt idx="2">
                  <c:v>5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4</c:v>
                </c:pt>
                <c:pt idx="1">
                  <c:v>15</c:v>
                </c:pt>
                <c:pt idx="2">
                  <c:v>31</c:v>
                </c:pt>
                <c:pt idx="3">
                  <c:v>16</c:v>
                </c:pt>
                <c:pt idx="4">
                  <c:v>2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6</c:v>
                </c:pt>
                <c:pt idx="1">
                  <c:v>22</c:v>
                </c:pt>
                <c:pt idx="2">
                  <c:v>16</c:v>
                </c:pt>
                <c:pt idx="3">
                  <c:v>18</c:v>
                </c:pt>
                <c:pt idx="4">
                  <c:v>1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34</c:v>
                </c:pt>
                <c:pt idx="1">
                  <c:v>0.23300000000000001</c:v>
                </c:pt>
                <c:pt idx="2">
                  <c:v>0.15</c:v>
                </c:pt>
                <c:pt idx="3">
                  <c:v>0.13800000000000001</c:v>
                </c:pt>
                <c:pt idx="4">
                  <c:v>0.139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378</c:v>
                </c:pt>
                <c:pt idx="1">
                  <c:v>0.23200000000000001</c:v>
                </c:pt>
                <c:pt idx="2">
                  <c:v>0.16600000000000001</c:v>
                </c:pt>
                <c:pt idx="3">
                  <c:v>0.107</c:v>
                </c:pt>
                <c:pt idx="4">
                  <c:v>0.116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9</c:v>
                </c:pt>
                <c:pt idx="1">
                  <c:v>13</c:v>
                </c:pt>
                <c:pt idx="2">
                  <c:v>28</c:v>
                </c:pt>
                <c:pt idx="3">
                  <c:v>22</c:v>
                </c:pt>
                <c:pt idx="4">
                  <c:v>2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16</c:v>
                </c:pt>
                <c:pt idx="2">
                  <c:v>19</c:v>
                </c:pt>
                <c:pt idx="3">
                  <c:v>19</c:v>
                </c:pt>
                <c:pt idx="4">
                  <c:v>3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21</c:v>
                </c:pt>
                <c:pt idx="2">
                  <c:v>30</c:v>
                </c:pt>
                <c:pt idx="3">
                  <c:v>18</c:v>
                </c:pt>
                <c:pt idx="4">
                  <c:v>1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5</c:v>
                </c:pt>
                <c:pt idx="1">
                  <c:v>29</c:v>
                </c:pt>
                <c:pt idx="2">
                  <c:v>16</c:v>
                </c:pt>
                <c:pt idx="3">
                  <c:v>12</c:v>
                </c:pt>
                <c:pt idx="4">
                  <c:v>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61AFD6F6-6825-419B-8B19-5017E4C926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322E5FAA-4016-4BE3-A0FC-D5D24DA1D78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B04A460D-AE0F-4473-A003-0D372E81247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52F6D075-9A55-41BB-9832-EA9BA3EEF6F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7</c:v>
                </c:pt>
                <c:pt idx="1">
                  <c:v>0</c:v>
                </c:pt>
                <c:pt idx="2">
                  <c:v>0.01</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97%</c:v>
                  </c:pt>
                  <c:pt idx="1">
                    <c:v>-</c:v>
                  </c:pt>
                  <c:pt idx="2">
                    <c:v>1%</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D82601BB-D003-4EE5-B784-66D89CD687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C9A0E1E7-7B52-4EB9-B4A0-1B111475481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E926DE41-E648-460E-A385-2D6228C639F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85F9CEAA-BFEF-4DB0-81A4-8FEF9DECA27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92</c:v>
                </c:pt>
                <c:pt idx="1">
                  <c:v>0</c:v>
                </c:pt>
                <c:pt idx="2">
                  <c:v>0.05</c:v>
                </c:pt>
                <c:pt idx="3">
                  <c:v>0.01</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92%</c:v>
                  </c:pt>
                  <c:pt idx="1">
                    <c:v>-</c:v>
                  </c:pt>
                  <c:pt idx="2">
                    <c:v>5%</c:v>
                  </c:pt>
                  <c:pt idx="3">
                    <c:v>1%</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7</c:v>
                </c:pt>
                <c:pt idx="1">
                  <c:v>8</c:v>
                </c:pt>
                <c:pt idx="2">
                  <c:v>31</c:v>
                </c:pt>
                <c:pt idx="3">
                  <c:v>22</c:v>
                </c:pt>
                <c:pt idx="4">
                  <c:v>3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8</c:v>
                </c:pt>
                <c:pt idx="1">
                  <c:v>15</c:v>
                </c:pt>
                <c:pt idx="2">
                  <c:v>23</c:v>
                </c:pt>
                <c:pt idx="3">
                  <c:v>19</c:v>
                </c:pt>
                <c:pt idx="4">
                  <c:v>2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0</c:v>
                </c:pt>
                <c:pt idx="1">
                  <c:v>24</c:v>
                </c:pt>
                <c:pt idx="2">
                  <c:v>42</c:v>
                </c:pt>
                <c:pt idx="3">
                  <c:v>2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9</c:v>
                </c:pt>
                <c:pt idx="1">
                  <c:v>33</c:v>
                </c:pt>
                <c:pt idx="2">
                  <c:v>33</c:v>
                </c:pt>
                <c:pt idx="3">
                  <c:v>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3</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3</c:v>
                </c:pt>
                <c:pt idx="1">
                  <c:v>39</c:v>
                </c:pt>
                <c:pt idx="2">
                  <c:v>13</c:v>
                </c:pt>
                <c:pt idx="3">
                  <c:v>3</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9</c:v>
                </c:pt>
                <c:pt idx="1">
                  <c:v>22</c:v>
                </c:pt>
                <c:pt idx="2">
                  <c:v>5</c:v>
                </c:pt>
                <c:pt idx="3">
                  <c:v>2</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7</c:v>
                </c:pt>
                <c:pt idx="1">
                  <c:v>47</c:v>
                </c:pt>
                <c:pt idx="2">
                  <c:v>14</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5</c:v>
                </c:pt>
                <c:pt idx="1">
                  <c:v>49</c:v>
                </c:pt>
                <c:pt idx="2">
                  <c:v>13</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9</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48349221-24F8-45F5-AC08-C897A50233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2BA1967F-177E-4694-B680-5913A73CFEE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8%</c:v>
                  </c:pt>
                  <c:pt idx="1">
                    <c:v>22%</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9F210BCA-BC07-4088-85F5-9F49C73D4CE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457927DA-3AE7-4416-8CB7-D9A774C98B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1%</c:v>
                  </c:pt>
                  <c:pt idx="1">
                    <c:v>19%</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D5214EC3-6DFA-4D33-8E4B-BA74A1D2AD6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F360D194-83D0-40CC-AA7F-84814D96D51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4</c:v>
                </c:pt>
                <c:pt idx="1">
                  <c:v>3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4%</c:v>
                  </c:pt>
                  <c:pt idx="1">
                    <c:v>36%</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F2DE6CEE-C5C9-4718-8107-93FE1C47AE7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2%</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61B2-481E-8927-CB542BF48EB3}"/>
                </c:ext>
              </c:extLst>
            </c:dLbl>
            <c:dLbl>
              <c:idx val="1"/>
              <c:tx>
                <c:rich>
                  <a:bodyPr/>
                  <a:lstStyle/>
                  <a:p>
                    <a:r>
                      <a:rPr lang="en-GB"/>
                      <a:t>18%</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2%p</c:v>
                  </c:pt>
                  <c:pt idx="1">
                    <c:v>18%q</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10DD8802-2ECE-45F0-8676-D0273B7C4C0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41E3B2B4-04A5-4109-9F6C-15DEF37BC90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4</c:v>
                </c:pt>
                <c:pt idx="1">
                  <c:v>6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4%</c:v>
                  </c:pt>
                  <c:pt idx="1">
                    <c:v>66%</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D51D2F3F-9041-4F2C-9657-0DC80698D9C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E234A33C-DA40-4B0C-9132-C43D99C302A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2</c:v>
                </c:pt>
                <c:pt idx="1">
                  <c:v>5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2%</c:v>
                  </c:pt>
                  <c:pt idx="1">
                    <c:v>58%</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4A75BF91-92EE-4679-8426-8B8AA363C7A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955545CE-32A9-47C0-8DD1-B3BAC4E970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2</c:v>
                </c:pt>
                <c:pt idx="1">
                  <c:v>5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2%</c:v>
                  </c:pt>
                  <c:pt idx="1">
                    <c:v>58%</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0FBAAFEC-FDEF-410B-AE49-C723B47C712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74F0677F-F407-4804-94BC-ED2855FE30E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5</c:v>
                </c:pt>
                <c:pt idx="1">
                  <c:v>6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5%</c:v>
                  </c:pt>
                  <c:pt idx="1">
                    <c:v>65%</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BFEF2A74-5826-4522-9744-28EBC427AF9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B67316E5-2BE8-4E57-982E-841D149B2CE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2%</c:v>
                  </c:pt>
                  <c:pt idx="1">
                    <c:v>18%</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DE94D713-C161-4D8A-9FB5-CFFEED10257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0%</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20%</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0%p</c:v>
                  </c:pt>
                  <c:pt idx="1">
                    <c:v>20%q</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82E96641-F623-4E50-871D-485E64A2FE3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2EBC9052-ECB2-4446-BA6B-075D52C6731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5</c:v>
                </c:pt>
                <c:pt idx="1">
                  <c:v>3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5%</c:v>
                  </c:pt>
                  <c:pt idx="1">
                    <c:v>35%</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0BCDA6E9-139A-4974-B720-3450FD560EE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EF1784AA-580F-4431-9B50-1CCAB3507A0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1</c:v>
                </c:pt>
                <c:pt idx="1">
                  <c:v>4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1%</c:v>
                  </c:pt>
                  <c:pt idx="1">
                    <c:v>49%</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F6A16332-230E-44A3-ADC2-ED97CB2FB3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5ABAA1F5-18F7-4200-BF3A-1E595BCA047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B78A5546-1069-44F7-B66E-228AEFCEB44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2DB0D607-B886-4174-9A4A-CA41FF0798D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54</c:v>
                </c:pt>
                <c:pt idx="1">
                  <c:v>30</c:v>
                </c:pt>
                <c:pt idx="2">
                  <c:v>1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0</c:v>
                </c:pt>
                <c:pt idx="1">
                  <c:v>53</c:v>
                </c:pt>
                <c:pt idx="2">
                  <c:v>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526281A3-EB64-4265-B454-0211E9D3C8F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7C746384-9E1E-41A3-AF4E-6022B874655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3C746E1A-D26C-4F0C-8A8E-5C39FF2E08F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883AA802-2A5B-4E7B-9F18-C2A1C32D50D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BBD8440C-9127-44F6-A0AC-480FECC16BB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387E32F9-6BB5-4389-8FAB-2542DEC910A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7</c:v>
                </c:pt>
                <c:pt idx="1">
                  <c:v>7</c:v>
                </c:pt>
                <c:pt idx="2">
                  <c:v>63</c:v>
                </c:pt>
                <c:pt idx="3">
                  <c:v>35</c:v>
                </c:pt>
                <c:pt idx="4">
                  <c:v>18</c:v>
                </c:pt>
                <c:pt idx="5">
                  <c:v>15</c:v>
                </c:pt>
                <c:pt idx="6">
                  <c:v>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67%</c:v>
                  </c:pt>
                  <c:pt idx="1">
                    <c:v>7%</c:v>
                  </c:pt>
                  <c:pt idx="2">
                    <c:v>63%</c:v>
                  </c:pt>
                  <c:pt idx="3">
                    <c:v>35%</c:v>
                  </c:pt>
                  <c:pt idx="4">
                    <c:v>18%</c:v>
                  </c:pt>
                  <c:pt idx="5">
                    <c:v>15%</c:v>
                  </c:pt>
                  <c:pt idx="6">
                    <c:v>6%</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16E80639-9E00-4957-AC66-B81E0F5D027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6D0F6E8D-64DF-410A-9812-D0D733DEF0E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5B157E86-8E2E-45CB-B5FC-300E9D2BCC9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9FE20243-96AE-4544-955D-22E2723C62B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FDF4A97B-A545-49ED-A958-590BBDF579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F6110486-4A8F-456D-9215-BCB16DAA706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32</c:v>
                </c:pt>
                <c:pt idx="1">
                  <c:v>18</c:v>
                </c:pt>
                <c:pt idx="2">
                  <c:v>33</c:v>
                </c:pt>
                <c:pt idx="3">
                  <c:v>46</c:v>
                </c:pt>
                <c:pt idx="4">
                  <c:v>7</c:v>
                </c:pt>
                <c:pt idx="5">
                  <c:v>13</c:v>
                </c:pt>
                <c:pt idx="6">
                  <c:v>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32%</c:v>
                  </c:pt>
                  <c:pt idx="1">
                    <c:v>18%</c:v>
                  </c:pt>
                  <c:pt idx="2">
                    <c:v>33%</c:v>
                  </c:pt>
                  <c:pt idx="3">
                    <c:v>46%</c:v>
                  </c:pt>
                  <c:pt idx="4">
                    <c:v>7%</c:v>
                  </c:pt>
                  <c:pt idx="5">
                    <c:v>13%</c:v>
                  </c:pt>
                  <c:pt idx="6">
                    <c:v>9%</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7</c:v>
                </c:pt>
                <c:pt idx="1">
                  <c:v>37</c:v>
                </c:pt>
                <c:pt idx="2">
                  <c:v>4</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8</c:v>
                </c:pt>
                <c:pt idx="1">
                  <c:v>36</c:v>
                </c:pt>
                <c:pt idx="2">
                  <c:v>5</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3%</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1</c:v>
                </c:pt>
                <c:pt idx="1">
                  <c:v>0.81</c:v>
                </c:pt>
                <c:pt idx="2">
                  <c:v>0.89</c:v>
                </c:pt>
                <c:pt idx="3">
                  <c:v>0.84</c:v>
                </c:pt>
                <c:pt idx="4">
                  <c:v>0.84</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F90FC9A3-A714-4516-B651-64D8CC44D94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D29BFFA9-1785-4C9E-85C5-A43D4E75106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1E75AA18-671B-4FE5-895B-2900013D520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F41A28C9-D443-4257-8167-4555D1D0CC9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9</c:v>
                </c:pt>
                <c:pt idx="1">
                  <c:v>0.19</c:v>
                </c:pt>
                <c:pt idx="2">
                  <c:v>0.11</c:v>
                </c:pt>
                <c:pt idx="3">
                  <c:v>0.16</c:v>
                </c:pt>
                <c:pt idx="4">
                  <c:v>0.1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1%</c:v>
                  </c:pt>
                  <c:pt idx="1">
                    <c:v>81%</c:v>
                  </c:pt>
                  <c:pt idx="2">
                    <c:v>89%</c:v>
                  </c:pt>
                  <c:pt idx="3">
                    <c:v>84%</c:v>
                  </c:pt>
                  <c:pt idx="4">
                    <c:v>84%</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EAST AND NORTH CUMBRIA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EAST AND NORTH CUMBRIA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EAST AND NORTH CUMBRIA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EAST AND NORTH CUMBRIA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EAST AND NORTH CUMBRIA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NORTH EAST AND NORTH CUMBRIA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805758664"/>
              </p:ext>
            </p:extLst>
          </p:nvPr>
        </p:nvGraphicFramePr>
        <p:xfrm>
          <a:off x="500063" y="2340951"/>
          <a:ext cx="5345152" cy="3270568"/>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sharing information about diabetes at the time of diagnosis
Healthcare professionals having a conversation about what would happen next with their diabetes care at the time of diagnosis
Attending an annual review ever
Having a weight and BMI check as part of their last annual review
Having a smoking status review as part of their last annual review
Healthcare professionals providing information about the potential complications of living with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963142938"/>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612449649"/>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in taking part in physical activity</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591578700"/>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NORTH EAST AND NORTH CUMBRIA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57763554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49127309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0% of respondents who were marked as Type 1 in the sample selected ‘Type 1’, 8% selected ‘Type 2’, 2% selected ‘Other’ and 1% selected ‘I don’t know’ ​</a:t>
            </a:r>
          </a:p>
          <a:p>
            <a:pPr marL="171450" indent="-171450">
              <a:buFont typeface="Arial" panose="020B0604020202020204" pitchFamily="34" charset="0"/>
              <a:buChar char="•"/>
              <a:defRPr/>
            </a:pPr>
            <a:r>
              <a:rPr lang="en-GB" sz="1200" dirty="0">
                <a:solidFill>
                  <a:schemeClr val="tx1"/>
                </a:solidFill>
                <a:effectLst/>
              </a:rPr>
              <a:t>92% of respondents who were marked as Type 2 in the sample selected ‘Type 2’, 2% selected ‘Type 1’, 2% selected ‘Other’ and 3%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534); Type 2, ICS (717)).</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50282717"/>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755151797"/>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40554598"/>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4177213074"/>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371065146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452); Type 2, National (19,941), ICS (587))</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84560477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221377520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474); Type 2, National (22,278), ICS (651))</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352503812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324689378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434); Type 2, National (21,082), ICS (624))</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4017580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253353301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532); Type 2, National (24,180), ICS (709))</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667618204"/>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649264901"/>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1892148039"/>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2136770919"/>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48747191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514); Type 2, National (22,482), ICS (678))</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7087322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49860385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20061843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36583023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299742781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313759506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166905496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25695046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359862823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517); Type 2, National (22,670), ICS (683))</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259899862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165299636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78104204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230393710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68621224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422036483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163971336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42910991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386698282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531); Type 2, National (24,076), ICS (708))</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54213021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227643687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190023615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421855549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269573157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393312264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319761580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385574531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532); Type 2, National (24,153), ICS (713))</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182240050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139359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121574351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72265794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266359820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296061847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369823753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160418470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278635653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532); Type 2, National (24,135), ICS (71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410326742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81029087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404320469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258493904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251968661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7154948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299365177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80825673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119713325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532); Type 2, National (24,084), ICS (71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22532582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115048359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26132071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349040375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381628073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114804567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273845462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132770412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255774420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531); Type 2, National (24,070), ICS (709))</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409384843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2804291873"/>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404377983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2818173793"/>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2263493843"/>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413528490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515382902"/>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225346822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338786445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532); Type 2, National (24,260), ICS (717))</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147104456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62175654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65703686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232571418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423367354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354335558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248534297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288632478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215828245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532); Type 2, National (24,267), ICS (717))</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130940968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371793154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365391487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128596117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88312223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416870302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13904574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181224210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415900237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531); Type 2, National (24,196), ICS (714))</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109690899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145903820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291854215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530); Type 2, National (24,019), ICS (711))</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326690443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271666696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52); Type 2, National (11,860), ICS (327))</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163055033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283448982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517); Type 2, National (21,228), ICS (626))</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55635735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54376207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510); Type 2, National (20,915), ICS (606))</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157958862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247588241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488); Type 2, National (20,086), ICS (577))</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387132345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382843914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505); Type 2, National (21,890), ICS (644))</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112337189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33014667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476); Type 2, National (18,585), ICS (555))</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383526561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336021491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396415480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120350500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150164732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13034966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254596728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175213506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512); Type 2, National (22,580), ICS (664))</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43130269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2911016636"/>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864556789"/>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3340086655"/>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230192196"/>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345771924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363); Type 2, National (12,350), ICS (349))</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270909240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3486784878"/>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397961666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392336532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179992332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78912826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331526632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47051970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515); Type 2, National (10,911), ICS (295))</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168608747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486170200"/>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516489353"/>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3808479893"/>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3502642795"/>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264519745"/>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003289912"/>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515))</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529868602"/>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077501733"/>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015604126"/>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2958214580"/>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871641347"/>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1554516835"/>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676))</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NORTH EAST AND NORTH CUMBRIA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3,065</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1,254</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1%</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34</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720</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238</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827</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1473804331"/>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3072012711"/>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2009932144"/>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335190438"/>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1329639601"/>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1277679617"/>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2056077023"/>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NORTH EAST AND NORTH CUMBRIA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869936421"/>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Describing their experience at the last annual review as good
Healthcare professionals providing information about the potential complications of living with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460174081"/>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94291288"/>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foot check as part of their last annual review</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803990381"/>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3.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899</TotalTime>
  <Words>5357</Words>
  <Application>Microsoft Office PowerPoint</Application>
  <PresentationFormat>Widescreen</PresentationFormat>
  <Paragraphs>810</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Wingdings</vt:lpstr>
      <vt:lpstr>Arial Black</vt:lpstr>
      <vt:lpstr>Roboto</vt:lpstr>
      <vt:lpstr>Arial (Body)</vt:lpstr>
      <vt:lpstr>Arial</vt:lpstr>
      <vt:lpstr>Wingdings 3</vt:lpstr>
      <vt:lpstr>Barlow</vt:lpstr>
      <vt:lpstr>HelveticaNeueLT Std Lt Cn</vt:lpstr>
      <vt:lpstr>Segoe UI</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Katherine Fisher</cp:lastModifiedBy>
  <cp:revision>173</cp:revision>
  <cp:lastPrinted>2024-09-17T13:37:47Z</cp:lastPrinted>
  <dcterms:created xsi:type="dcterms:W3CDTF">2024-06-17T14:42:21Z</dcterms:created>
  <dcterms:modified xsi:type="dcterms:W3CDTF">2024-12-04T10:4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